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</p:sldIdLst>
  <p:sldSz cx="12192000" cy="6858000"/>
  <p:notesSz cx="6858000" cy="9144000"/>
  <p:custDataLst>
    <p:tags r:id="rId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70" d="100"/>
          <a:sy n="70" d="100"/>
        </p:scale>
        <p:origin x="53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FDF4FE-80EA-4174-8C07-695C77982319}" type="datetimeFigureOut">
              <a:rPr lang="ru-RU" smtClean="0"/>
              <a:t>24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E1DE1D-B298-48D5-A64B-DC9CF4D550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85633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FDF4FE-80EA-4174-8C07-695C77982319}" type="datetimeFigureOut">
              <a:rPr lang="ru-RU" smtClean="0"/>
              <a:t>24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E1DE1D-B298-48D5-A64B-DC9CF4D550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57950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FDF4FE-80EA-4174-8C07-695C77982319}" type="datetimeFigureOut">
              <a:rPr lang="ru-RU" smtClean="0"/>
              <a:t>24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E1DE1D-B298-48D5-A64B-DC9CF4D550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99643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FDF4FE-80EA-4174-8C07-695C77982319}" type="datetimeFigureOut">
              <a:rPr lang="ru-RU" smtClean="0"/>
              <a:t>24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E1DE1D-B298-48D5-A64B-DC9CF4D550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99371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FDF4FE-80EA-4174-8C07-695C77982319}" type="datetimeFigureOut">
              <a:rPr lang="ru-RU" smtClean="0"/>
              <a:t>24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E1DE1D-B298-48D5-A64B-DC9CF4D550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28096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FDF4FE-80EA-4174-8C07-695C77982319}" type="datetimeFigureOut">
              <a:rPr lang="ru-RU" smtClean="0"/>
              <a:t>24.0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E1DE1D-B298-48D5-A64B-DC9CF4D550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53526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FDF4FE-80EA-4174-8C07-695C77982319}" type="datetimeFigureOut">
              <a:rPr lang="ru-RU" smtClean="0"/>
              <a:t>24.02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E1DE1D-B298-48D5-A64B-DC9CF4D550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01219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FDF4FE-80EA-4174-8C07-695C77982319}" type="datetimeFigureOut">
              <a:rPr lang="ru-RU" smtClean="0"/>
              <a:t>24.02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E1DE1D-B298-48D5-A64B-DC9CF4D550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74354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FDF4FE-80EA-4174-8C07-695C77982319}" type="datetimeFigureOut">
              <a:rPr lang="ru-RU" smtClean="0"/>
              <a:t>24.02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E1DE1D-B298-48D5-A64B-DC9CF4D550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17014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FDF4FE-80EA-4174-8C07-695C77982319}" type="datetimeFigureOut">
              <a:rPr lang="ru-RU" smtClean="0"/>
              <a:t>24.0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E1DE1D-B298-48D5-A64B-DC9CF4D550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96050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FDF4FE-80EA-4174-8C07-695C77982319}" type="datetimeFigureOut">
              <a:rPr lang="ru-RU" smtClean="0"/>
              <a:t>24.0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E1DE1D-B298-48D5-A64B-DC9CF4D550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48146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4750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Слайд think-cell" r:id="rId16" imgW="395" imgH="396" progId="TCLayout.ActiveDocument.1">
                  <p:embed/>
                </p:oleObj>
              </mc:Choice>
              <mc:Fallback>
                <p:oleObj name="Слайд think-cell" r:id="rId1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FDF4FE-80EA-4174-8C07-695C77982319}" type="datetimeFigureOut">
              <a:rPr lang="ru-RU" smtClean="0"/>
              <a:t>24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E1DE1D-B298-48D5-A64B-DC9CF4D550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1865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4.jpe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2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14.xml"/><Relationship Id="rId7" Type="http://schemas.openxmlformats.org/officeDocument/2006/relationships/image" Target="../media/image7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5230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2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ru-RU" sz="2400" dirty="0" smtClean="0">
                <a:latin typeface="+mn-lt"/>
              </a:rPr>
              <a:t>Федеральное государственное образовательное бюджетное учреждение высшего образования «Финансовый университет при Правительстве Российской Федерации»</a:t>
            </a:r>
            <a:br>
              <a:rPr lang="ru-RU" sz="2400" dirty="0" smtClean="0">
                <a:latin typeface="+mn-lt"/>
              </a:rPr>
            </a:br>
            <a:r>
              <a:rPr lang="ru-RU" sz="2400" dirty="0" smtClean="0">
                <a:latin typeface="+mn-lt"/>
              </a:rPr>
              <a:t>Лицей </a:t>
            </a:r>
            <a:r>
              <a:rPr lang="ru-RU" sz="2400" dirty="0" err="1" smtClean="0">
                <a:latin typeface="+mn-lt"/>
              </a:rPr>
              <a:t>Финуниверситета</a:t>
            </a:r>
            <a:r>
              <a:rPr lang="ru-RU" sz="2400" dirty="0" smtClean="0">
                <a:latin typeface="+mn-lt"/>
              </a:rPr>
              <a:t/>
            </a:r>
            <a:br>
              <a:rPr lang="ru-RU" sz="2400" dirty="0" smtClean="0">
                <a:latin typeface="+mn-lt"/>
              </a:rPr>
            </a:br>
            <a:r>
              <a:rPr lang="ru-RU" sz="2400" dirty="0">
                <a:latin typeface="+mn-lt"/>
              </a:rPr>
              <a:t/>
            </a:r>
            <a:br>
              <a:rPr lang="ru-RU" sz="2400" dirty="0">
                <a:latin typeface="+mn-lt"/>
              </a:rPr>
            </a:br>
            <a:r>
              <a:rPr lang="ru-RU" sz="2400" dirty="0" smtClean="0">
                <a:latin typeface="+mn-lt"/>
              </a:rPr>
              <a:t>Презентация проектной работы</a:t>
            </a:r>
            <a:br>
              <a:rPr lang="ru-RU" sz="2400" dirty="0" smtClean="0">
                <a:latin typeface="+mn-lt"/>
              </a:rPr>
            </a:br>
            <a:r>
              <a:rPr lang="ru-RU" sz="2400" dirty="0" smtClean="0">
                <a:latin typeface="+mn-lt"/>
              </a:rPr>
              <a:t/>
            </a:r>
            <a:br>
              <a:rPr lang="ru-RU" sz="2400" dirty="0" smtClean="0">
                <a:latin typeface="+mn-lt"/>
              </a:rPr>
            </a:br>
            <a:r>
              <a:rPr lang="ru-RU" sz="2400" dirty="0" smtClean="0">
                <a:latin typeface="+mn-lt"/>
              </a:rPr>
              <a:t>Приложение «</a:t>
            </a:r>
            <a:r>
              <a:rPr lang="en-US" sz="2400" dirty="0" err="1" smtClean="0">
                <a:latin typeface="+mn-lt"/>
              </a:rPr>
              <a:t>HistoryZen</a:t>
            </a:r>
            <a:r>
              <a:rPr lang="ru-RU" sz="2400" dirty="0" smtClean="0">
                <a:latin typeface="+mn-lt"/>
              </a:rPr>
              <a:t>: повторяем даты к ЕГЭ по истории России» в формате </a:t>
            </a:r>
            <a:r>
              <a:rPr lang="en-US" sz="2400" dirty="0" smtClean="0">
                <a:latin typeface="+mn-lt"/>
              </a:rPr>
              <a:t>Memory Game </a:t>
            </a:r>
            <a:r>
              <a:rPr lang="ru-RU" sz="2400" dirty="0" smtClean="0">
                <a:latin typeface="+mn-lt"/>
              </a:rPr>
              <a:t>под ОС </a:t>
            </a:r>
            <a:r>
              <a:rPr lang="en-US" sz="2400" dirty="0" smtClean="0">
                <a:latin typeface="+mn-lt"/>
              </a:rPr>
              <a:t>Android</a:t>
            </a:r>
            <a:endParaRPr lang="ru-RU" sz="2400" dirty="0">
              <a:latin typeface="+mn-lt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8567928" y="3656902"/>
            <a:ext cx="3118104" cy="1655762"/>
          </a:xfrm>
        </p:spPr>
        <p:txBody>
          <a:bodyPr>
            <a:noAutofit/>
          </a:bodyPr>
          <a:lstStyle/>
          <a:p>
            <a:pPr algn="l"/>
            <a:r>
              <a:rPr lang="ru-RU" sz="1800" b="1" dirty="0" smtClean="0"/>
              <a:t>Работу выполнили: </a:t>
            </a:r>
          </a:p>
          <a:p>
            <a:pPr algn="l"/>
            <a:r>
              <a:rPr lang="ru-RU" sz="1800" dirty="0" smtClean="0"/>
              <a:t>Ляшенко Я. И., </a:t>
            </a:r>
            <a:r>
              <a:rPr lang="ru-RU" sz="1800" dirty="0" err="1" smtClean="0"/>
              <a:t>Орусский</a:t>
            </a:r>
            <a:r>
              <a:rPr lang="ru-RU" sz="1800" dirty="0" smtClean="0"/>
              <a:t> В. Р.</a:t>
            </a:r>
          </a:p>
          <a:p>
            <a:pPr algn="l"/>
            <a:r>
              <a:rPr lang="ru-RU" sz="1800" b="1" dirty="0" smtClean="0"/>
              <a:t>Руководители проекта:</a:t>
            </a:r>
          </a:p>
          <a:p>
            <a:pPr algn="l"/>
            <a:r>
              <a:rPr lang="ru-RU" sz="1800" dirty="0" smtClean="0"/>
              <a:t>Алиев С. А. – учитель информатики и ИКТ, </a:t>
            </a:r>
            <a:r>
              <a:rPr lang="ru-RU" sz="1800" dirty="0" err="1" smtClean="0"/>
              <a:t>Урмайкин</a:t>
            </a:r>
            <a:r>
              <a:rPr lang="ru-RU" sz="1800" dirty="0" smtClean="0"/>
              <a:t> В. М. – учитель обществознания и истории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4901184"/>
            <a:ext cx="3012306" cy="1111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1067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0902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1584" y="809933"/>
            <a:ext cx="10515600" cy="435133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400" b="1" dirty="0" smtClean="0"/>
              <a:t>Цель проекта:</a:t>
            </a:r>
            <a:r>
              <a:rPr lang="en-US" sz="2400" b="1" dirty="0" smtClean="0"/>
              <a:t> </a:t>
            </a:r>
            <a:r>
              <a:rPr lang="ru-RU" sz="2400" dirty="0" smtClean="0"/>
              <a:t>разработка мобильного приложения </a:t>
            </a:r>
            <a:r>
              <a:rPr lang="ru-RU" sz="2400" dirty="0"/>
              <a:t>«</a:t>
            </a:r>
            <a:r>
              <a:rPr lang="en-US" sz="2400" dirty="0" err="1"/>
              <a:t>HistoryZen</a:t>
            </a:r>
            <a:r>
              <a:rPr lang="ru-RU" sz="2400" dirty="0"/>
              <a:t>: повторяем даты к ЕГЭ по истории России» </a:t>
            </a:r>
            <a:r>
              <a:rPr lang="ru-RU" sz="2400" dirty="0" smtClean="0"/>
              <a:t>под ОС </a:t>
            </a:r>
            <a:r>
              <a:rPr lang="en-US" sz="2400" dirty="0" smtClean="0"/>
              <a:t>Android</a:t>
            </a:r>
          </a:p>
          <a:p>
            <a:pPr marL="0" indent="0">
              <a:buNone/>
            </a:pPr>
            <a:endParaRPr lang="en-US" sz="2400" dirty="0" smtClean="0"/>
          </a:p>
          <a:p>
            <a:pPr marL="0" indent="0">
              <a:buNone/>
            </a:pPr>
            <a:r>
              <a:rPr lang="ru-RU" sz="2400" b="1" dirty="0" smtClean="0"/>
              <a:t>Задачи проекта:</a:t>
            </a:r>
          </a:p>
          <a:p>
            <a:pPr lvl="1"/>
            <a:r>
              <a:rPr lang="ru-RU" dirty="0" smtClean="0"/>
              <a:t>Определить актуальность продукта</a:t>
            </a:r>
          </a:p>
          <a:p>
            <a:pPr lvl="1"/>
            <a:r>
              <a:rPr lang="ru-RU" dirty="0" smtClean="0"/>
              <a:t>Определить сроки работы</a:t>
            </a:r>
          </a:p>
          <a:p>
            <a:pPr lvl="1"/>
            <a:r>
              <a:rPr lang="ru-RU" dirty="0" smtClean="0"/>
              <a:t>Отобрать материал для приложения</a:t>
            </a:r>
          </a:p>
          <a:p>
            <a:pPr lvl="1"/>
            <a:r>
              <a:rPr lang="ru-RU" dirty="0" smtClean="0"/>
              <a:t>Обучиться основам разработки на игровом движке </a:t>
            </a:r>
            <a:r>
              <a:rPr lang="en-US" dirty="0" smtClean="0"/>
              <a:t>Unity</a:t>
            </a:r>
            <a:endParaRPr lang="ru-RU" dirty="0" smtClean="0"/>
          </a:p>
          <a:p>
            <a:pPr lvl="1"/>
            <a:r>
              <a:rPr lang="ru-RU" dirty="0" smtClean="0"/>
              <a:t>Разработать дизайн</a:t>
            </a:r>
            <a:endParaRPr lang="en-US" dirty="0" smtClean="0"/>
          </a:p>
          <a:p>
            <a:pPr lvl="1"/>
            <a:r>
              <a:rPr lang="ru-RU" dirty="0" smtClean="0"/>
              <a:t>Разработать альфа-версию приложения</a:t>
            </a:r>
          </a:p>
          <a:p>
            <a:pPr lvl="1"/>
            <a:r>
              <a:rPr lang="ru-RU" dirty="0" smtClean="0"/>
              <a:t>Протестировать разработку</a:t>
            </a:r>
          </a:p>
          <a:p>
            <a:pPr lvl="1"/>
            <a:r>
              <a:rPr lang="ru-RU" dirty="0" smtClean="0"/>
              <a:t>Произвести отладку</a:t>
            </a:r>
          </a:p>
          <a:p>
            <a:pPr lvl="1"/>
            <a:r>
              <a:rPr lang="ru-RU" dirty="0" smtClean="0"/>
              <a:t>Опубликовать приложение в онлайн-магазине </a:t>
            </a:r>
            <a:r>
              <a:rPr lang="en-US" dirty="0" smtClean="0"/>
              <a:t>Google Play</a:t>
            </a:r>
            <a:endParaRPr lang="ru-RU" dirty="0"/>
          </a:p>
        </p:txBody>
      </p:sp>
      <p:sp>
        <p:nvSpPr>
          <p:cNvPr id="5" name="Декоративная галочка"/>
          <p:cNvSpPr/>
          <p:nvPr/>
        </p:nvSpPr>
        <p:spPr>
          <a:xfrm>
            <a:off x="5941029" y="2514600"/>
            <a:ext cx="347153" cy="2370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52" h="20404" extrusionOk="0">
                <a:moveTo>
                  <a:pt x="19340" y="6"/>
                </a:moveTo>
                <a:cubicBezTo>
                  <a:pt x="18911" y="-308"/>
                  <a:pt x="8317" y="11620"/>
                  <a:pt x="6423" y="13985"/>
                </a:cubicBezTo>
                <a:cubicBezTo>
                  <a:pt x="6323" y="14108"/>
                  <a:pt x="6215" y="14226"/>
                  <a:pt x="6090" y="14370"/>
                </a:cubicBezTo>
                <a:cubicBezTo>
                  <a:pt x="5960" y="14216"/>
                  <a:pt x="5854" y="14096"/>
                  <a:pt x="5755" y="13971"/>
                </a:cubicBezTo>
                <a:cubicBezTo>
                  <a:pt x="4964" y="12967"/>
                  <a:pt x="4458" y="12167"/>
                  <a:pt x="3657" y="11171"/>
                </a:cubicBezTo>
                <a:cubicBezTo>
                  <a:pt x="3337" y="10773"/>
                  <a:pt x="2972" y="10410"/>
                  <a:pt x="2634" y="10026"/>
                </a:cubicBezTo>
                <a:cubicBezTo>
                  <a:pt x="2472" y="9843"/>
                  <a:pt x="2283" y="9849"/>
                  <a:pt x="2071" y="9915"/>
                </a:cubicBezTo>
                <a:cubicBezTo>
                  <a:pt x="1856" y="9981"/>
                  <a:pt x="1574" y="9982"/>
                  <a:pt x="1303" y="10152"/>
                </a:cubicBezTo>
                <a:cubicBezTo>
                  <a:pt x="1209" y="10262"/>
                  <a:pt x="1332" y="10438"/>
                  <a:pt x="1349" y="10609"/>
                </a:cubicBezTo>
                <a:cubicBezTo>
                  <a:pt x="1369" y="10821"/>
                  <a:pt x="603" y="10792"/>
                  <a:pt x="203" y="11061"/>
                </a:cubicBezTo>
                <a:cubicBezTo>
                  <a:pt x="111" y="11123"/>
                  <a:pt x="286" y="11375"/>
                  <a:pt x="227" y="11440"/>
                </a:cubicBezTo>
                <a:cubicBezTo>
                  <a:pt x="51" y="11634"/>
                  <a:pt x="-61" y="11588"/>
                  <a:pt x="36" y="11826"/>
                </a:cubicBezTo>
                <a:cubicBezTo>
                  <a:pt x="896" y="13941"/>
                  <a:pt x="2182" y="15733"/>
                  <a:pt x="3218" y="17879"/>
                </a:cubicBezTo>
                <a:cubicBezTo>
                  <a:pt x="4865" y="21292"/>
                  <a:pt x="5178" y="19166"/>
                  <a:pt x="5654" y="19575"/>
                </a:cubicBezTo>
                <a:cubicBezTo>
                  <a:pt x="7119" y="20836"/>
                  <a:pt x="6474" y="21179"/>
                  <a:pt x="9921" y="16770"/>
                </a:cubicBezTo>
                <a:cubicBezTo>
                  <a:pt x="11378" y="14721"/>
                  <a:pt x="19009" y="5203"/>
                  <a:pt x="20710" y="3334"/>
                </a:cubicBezTo>
                <a:cubicBezTo>
                  <a:pt x="20919" y="3106"/>
                  <a:pt x="21118" y="2879"/>
                  <a:pt x="21258" y="2594"/>
                </a:cubicBezTo>
                <a:cubicBezTo>
                  <a:pt x="21526" y="2050"/>
                  <a:pt x="21539" y="2066"/>
                  <a:pt x="21150" y="1624"/>
                </a:cubicBezTo>
                <a:cubicBezTo>
                  <a:pt x="21006" y="1461"/>
                  <a:pt x="20856" y="1427"/>
                  <a:pt x="20646" y="1437"/>
                </a:cubicBezTo>
                <a:cubicBezTo>
                  <a:pt x="20244" y="1456"/>
                  <a:pt x="20044" y="1227"/>
                  <a:pt x="20086" y="860"/>
                </a:cubicBezTo>
                <a:cubicBezTo>
                  <a:pt x="20096" y="778"/>
                  <a:pt x="20075" y="672"/>
                  <a:pt x="20023" y="612"/>
                </a:cubicBezTo>
                <a:cubicBezTo>
                  <a:pt x="19903" y="469"/>
                  <a:pt x="19492" y="117"/>
                  <a:pt x="19340" y="6"/>
                </a:cubicBezTo>
                <a:close/>
              </a:path>
            </a:pathLst>
          </a:custGeom>
          <a:solidFill>
            <a:srgbClr val="37D100"/>
          </a:solidFill>
          <a:ln w="12700">
            <a:miter lim="400000"/>
          </a:ln>
        </p:spPr>
        <p:txBody>
          <a:bodyPr lIns="0" tIns="0" rIns="0" bIns="0" anchor="ctr"/>
          <a:lstStyle/>
          <a:p>
            <a:endParaRPr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88712" y="2863671"/>
            <a:ext cx="347502" cy="243861"/>
          </a:xfrm>
          <a:prstGeom prst="rect">
            <a:avLst/>
          </a:prstGeom>
        </p:spPr>
      </p:pic>
      <p:sp>
        <p:nvSpPr>
          <p:cNvPr id="7" name="Декоративная галочка"/>
          <p:cNvSpPr/>
          <p:nvPr/>
        </p:nvSpPr>
        <p:spPr>
          <a:xfrm>
            <a:off x="6114606" y="3260630"/>
            <a:ext cx="347153" cy="2370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52" h="20404" extrusionOk="0">
                <a:moveTo>
                  <a:pt x="19340" y="6"/>
                </a:moveTo>
                <a:cubicBezTo>
                  <a:pt x="18911" y="-308"/>
                  <a:pt x="8317" y="11620"/>
                  <a:pt x="6423" y="13985"/>
                </a:cubicBezTo>
                <a:cubicBezTo>
                  <a:pt x="6323" y="14108"/>
                  <a:pt x="6215" y="14226"/>
                  <a:pt x="6090" y="14370"/>
                </a:cubicBezTo>
                <a:cubicBezTo>
                  <a:pt x="5960" y="14216"/>
                  <a:pt x="5854" y="14096"/>
                  <a:pt x="5755" y="13971"/>
                </a:cubicBezTo>
                <a:cubicBezTo>
                  <a:pt x="4964" y="12967"/>
                  <a:pt x="4458" y="12167"/>
                  <a:pt x="3657" y="11171"/>
                </a:cubicBezTo>
                <a:cubicBezTo>
                  <a:pt x="3337" y="10773"/>
                  <a:pt x="2972" y="10410"/>
                  <a:pt x="2634" y="10026"/>
                </a:cubicBezTo>
                <a:cubicBezTo>
                  <a:pt x="2472" y="9843"/>
                  <a:pt x="2283" y="9849"/>
                  <a:pt x="2071" y="9915"/>
                </a:cubicBezTo>
                <a:cubicBezTo>
                  <a:pt x="1856" y="9981"/>
                  <a:pt x="1574" y="9982"/>
                  <a:pt x="1303" y="10152"/>
                </a:cubicBezTo>
                <a:cubicBezTo>
                  <a:pt x="1209" y="10262"/>
                  <a:pt x="1332" y="10438"/>
                  <a:pt x="1349" y="10609"/>
                </a:cubicBezTo>
                <a:cubicBezTo>
                  <a:pt x="1369" y="10821"/>
                  <a:pt x="603" y="10792"/>
                  <a:pt x="203" y="11061"/>
                </a:cubicBezTo>
                <a:cubicBezTo>
                  <a:pt x="111" y="11123"/>
                  <a:pt x="286" y="11375"/>
                  <a:pt x="227" y="11440"/>
                </a:cubicBezTo>
                <a:cubicBezTo>
                  <a:pt x="51" y="11634"/>
                  <a:pt x="-61" y="11588"/>
                  <a:pt x="36" y="11826"/>
                </a:cubicBezTo>
                <a:cubicBezTo>
                  <a:pt x="896" y="13941"/>
                  <a:pt x="2182" y="15733"/>
                  <a:pt x="3218" y="17879"/>
                </a:cubicBezTo>
                <a:cubicBezTo>
                  <a:pt x="4865" y="21292"/>
                  <a:pt x="5178" y="19166"/>
                  <a:pt x="5654" y="19575"/>
                </a:cubicBezTo>
                <a:cubicBezTo>
                  <a:pt x="7119" y="20836"/>
                  <a:pt x="6474" y="21179"/>
                  <a:pt x="9921" y="16770"/>
                </a:cubicBezTo>
                <a:cubicBezTo>
                  <a:pt x="11378" y="14721"/>
                  <a:pt x="19009" y="5203"/>
                  <a:pt x="20710" y="3334"/>
                </a:cubicBezTo>
                <a:cubicBezTo>
                  <a:pt x="20919" y="3106"/>
                  <a:pt x="21118" y="2879"/>
                  <a:pt x="21258" y="2594"/>
                </a:cubicBezTo>
                <a:cubicBezTo>
                  <a:pt x="21526" y="2050"/>
                  <a:pt x="21539" y="2066"/>
                  <a:pt x="21150" y="1624"/>
                </a:cubicBezTo>
                <a:cubicBezTo>
                  <a:pt x="21006" y="1461"/>
                  <a:pt x="20856" y="1427"/>
                  <a:pt x="20646" y="1437"/>
                </a:cubicBezTo>
                <a:cubicBezTo>
                  <a:pt x="20244" y="1456"/>
                  <a:pt x="20044" y="1227"/>
                  <a:pt x="20086" y="860"/>
                </a:cubicBezTo>
                <a:cubicBezTo>
                  <a:pt x="20096" y="778"/>
                  <a:pt x="20075" y="672"/>
                  <a:pt x="20023" y="612"/>
                </a:cubicBezTo>
                <a:cubicBezTo>
                  <a:pt x="19903" y="469"/>
                  <a:pt x="19492" y="117"/>
                  <a:pt x="19340" y="6"/>
                </a:cubicBezTo>
                <a:close/>
              </a:path>
            </a:pathLst>
          </a:custGeom>
          <a:solidFill>
            <a:srgbClr val="37D100"/>
          </a:solidFill>
          <a:ln w="12700">
            <a:miter lim="400000"/>
          </a:ln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8" name="Декоративная галочка"/>
          <p:cNvSpPr/>
          <p:nvPr/>
        </p:nvSpPr>
        <p:spPr>
          <a:xfrm>
            <a:off x="6626686" y="4477512"/>
            <a:ext cx="347153" cy="2370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52" h="20404" extrusionOk="0">
                <a:moveTo>
                  <a:pt x="19340" y="6"/>
                </a:moveTo>
                <a:cubicBezTo>
                  <a:pt x="18911" y="-308"/>
                  <a:pt x="8317" y="11620"/>
                  <a:pt x="6423" y="13985"/>
                </a:cubicBezTo>
                <a:cubicBezTo>
                  <a:pt x="6323" y="14108"/>
                  <a:pt x="6215" y="14226"/>
                  <a:pt x="6090" y="14370"/>
                </a:cubicBezTo>
                <a:cubicBezTo>
                  <a:pt x="5960" y="14216"/>
                  <a:pt x="5854" y="14096"/>
                  <a:pt x="5755" y="13971"/>
                </a:cubicBezTo>
                <a:cubicBezTo>
                  <a:pt x="4964" y="12967"/>
                  <a:pt x="4458" y="12167"/>
                  <a:pt x="3657" y="11171"/>
                </a:cubicBezTo>
                <a:cubicBezTo>
                  <a:pt x="3337" y="10773"/>
                  <a:pt x="2972" y="10410"/>
                  <a:pt x="2634" y="10026"/>
                </a:cubicBezTo>
                <a:cubicBezTo>
                  <a:pt x="2472" y="9843"/>
                  <a:pt x="2283" y="9849"/>
                  <a:pt x="2071" y="9915"/>
                </a:cubicBezTo>
                <a:cubicBezTo>
                  <a:pt x="1856" y="9981"/>
                  <a:pt x="1574" y="9982"/>
                  <a:pt x="1303" y="10152"/>
                </a:cubicBezTo>
                <a:cubicBezTo>
                  <a:pt x="1209" y="10262"/>
                  <a:pt x="1332" y="10438"/>
                  <a:pt x="1349" y="10609"/>
                </a:cubicBezTo>
                <a:cubicBezTo>
                  <a:pt x="1369" y="10821"/>
                  <a:pt x="603" y="10792"/>
                  <a:pt x="203" y="11061"/>
                </a:cubicBezTo>
                <a:cubicBezTo>
                  <a:pt x="111" y="11123"/>
                  <a:pt x="286" y="11375"/>
                  <a:pt x="227" y="11440"/>
                </a:cubicBezTo>
                <a:cubicBezTo>
                  <a:pt x="51" y="11634"/>
                  <a:pt x="-61" y="11588"/>
                  <a:pt x="36" y="11826"/>
                </a:cubicBezTo>
                <a:cubicBezTo>
                  <a:pt x="896" y="13941"/>
                  <a:pt x="2182" y="15733"/>
                  <a:pt x="3218" y="17879"/>
                </a:cubicBezTo>
                <a:cubicBezTo>
                  <a:pt x="4865" y="21292"/>
                  <a:pt x="5178" y="19166"/>
                  <a:pt x="5654" y="19575"/>
                </a:cubicBezTo>
                <a:cubicBezTo>
                  <a:pt x="7119" y="20836"/>
                  <a:pt x="6474" y="21179"/>
                  <a:pt x="9921" y="16770"/>
                </a:cubicBezTo>
                <a:cubicBezTo>
                  <a:pt x="11378" y="14721"/>
                  <a:pt x="19009" y="5203"/>
                  <a:pt x="20710" y="3334"/>
                </a:cubicBezTo>
                <a:cubicBezTo>
                  <a:pt x="20919" y="3106"/>
                  <a:pt x="21118" y="2879"/>
                  <a:pt x="21258" y="2594"/>
                </a:cubicBezTo>
                <a:cubicBezTo>
                  <a:pt x="21526" y="2050"/>
                  <a:pt x="21539" y="2066"/>
                  <a:pt x="21150" y="1624"/>
                </a:cubicBezTo>
                <a:cubicBezTo>
                  <a:pt x="21006" y="1461"/>
                  <a:pt x="20856" y="1427"/>
                  <a:pt x="20646" y="1437"/>
                </a:cubicBezTo>
                <a:cubicBezTo>
                  <a:pt x="20244" y="1456"/>
                  <a:pt x="20044" y="1227"/>
                  <a:pt x="20086" y="860"/>
                </a:cubicBezTo>
                <a:cubicBezTo>
                  <a:pt x="20096" y="778"/>
                  <a:pt x="20075" y="672"/>
                  <a:pt x="20023" y="612"/>
                </a:cubicBezTo>
                <a:cubicBezTo>
                  <a:pt x="19903" y="469"/>
                  <a:pt x="19492" y="117"/>
                  <a:pt x="19340" y="6"/>
                </a:cubicBezTo>
                <a:close/>
              </a:path>
            </a:pathLst>
          </a:custGeom>
          <a:solidFill>
            <a:srgbClr val="37D100"/>
          </a:solidFill>
          <a:ln w="12700">
            <a:miter lim="400000"/>
          </a:ln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11" name="Декоративная галочка"/>
          <p:cNvSpPr/>
          <p:nvPr/>
        </p:nvSpPr>
        <p:spPr>
          <a:xfrm>
            <a:off x="8784670" y="3668165"/>
            <a:ext cx="347153" cy="2370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52" h="20404" extrusionOk="0">
                <a:moveTo>
                  <a:pt x="19340" y="6"/>
                </a:moveTo>
                <a:cubicBezTo>
                  <a:pt x="18911" y="-308"/>
                  <a:pt x="8317" y="11620"/>
                  <a:pt x="6423" y="13985"/>
                </a:cubicBezTo>
                <a:cubicBezTo>
                  <a:pt x="6323" y="14108"/>
                  <a:pt x="6215" y="14226"/>
                  <a:pt x="6090" y="14370"/>
                </a:cubicBezTo>
                <a:cubicBezTo>
                  <a:pt x="5960" y="14216"/>
                  <a:pt x="5854" y="14096"/>
                  <a:pt x="5755" y="13971"/>
                </a:cubicBezTo>
                <a:cubicBezTo>
                  <a:pt x="4964" y="12967"/>
                  <a:pt x="4458" y="12167"/>
                  <a:pt x="3657" y="11171"/>
                </a:cubicBezTo>
                <a:cubicBezTo>
                  <a:pt x="3337" y="10773"/>
                  <a:pt x="2972" y="10410"/>
                  <a:pt x="2634" y="10026"/>
                </a:cubicBezTo>
                <a:cubicBezTo>
                  <a:pt x="2472" y="9843"/>
                  <a:pt x="2283" y="9849"/>
                  <a:pt x="2071" y="9915"/>
                </a:cubicBezTo>
                <a:cubicBezTo>
                  <a:pt x="1856" y="9981"/>
                  <a:pt x="1574" y="9982"/>
                  <a:pt x="1303" y="10152"/>
                </a:cubicBezTo>
                <a:cubicBezTo>
                  <a:pt x="1209" y="10262"/>
                  <a:pt x="1332" y="10438"/>
                  <a:pt x="1349" y="10609"/>
                </a:cubicBezTo>
                <a:cubicBezTo>
                  <a:pt x="1369" y="10821"/>
                  <a:pt x="603" y="10792"/>
                  <a:pt x="203" y="11061"/>
                </a:cubicBezTo>
                <a:cubicBezTo>
                  <a:pt x="111" y="11123"/>
                  <a:pt x="286" y="11375"/>
                  <a:pt x="227" y="11440"/>
                </a:cubicBezTo>
                <a:cubicBezTo>
                  <a:pt x="51" y="11634"/>
                  <a:pt x="-61" y="11588"/>
                  <a:pt x="36" y="11826"/>
                </a:cubicBezTo>
                <a:cubicBezTo>
                  <a:pt x="896" y="13941"/>
                  <a:pt x="2182" y="15733"/>
                  <a:pt x="3218" y="17879"/>
                </a:cubicBezTo>
                <a:cubicBezTo>
                  <a:pt x="4865" y="21292"/>
                  <a:pt x="5178" y="19166"/>
                  <a:pt x="5654" y="19575"/>
                </a:cubicBezTo>
                <a:cubicBezTo>
                  <a:pt x="7119" y="20836"/>
                  <a:pt x="6474" y="21179"/>
                  <a:pt x="9921" y="16770"/>
                </a:cubicBezTo>
                <a:cubicBezTo>
                  <a:pt x="11378" y="14721"/>
                  <a:pt x="19009" y="5203"/>
                  <a:pt x="20710" y="3334"/>
                </a:cubicBezTo>
                <a:cubicBezTo>
                  <a:pt x="20919" y="3106"/>
                  <a:pt x="21118" y="2879"/>
                  <a:pt x="21258" y="2594"/>
                </a:cubicBezTo>
                <a:cubicBezTo>
                  <a:pt x="21526" y="2050"/>
                  <a:pt x="21539" y="2066"/>
                  <a:pt x="21150" y="1624"/>
                </a:cubicBezTo>
                <a:cubicBezTo>
                  <a:pt x="21006" y="1461"/>
                  <a:pt x="20856" y="1427"/>
                  <a:pt x="20646" y="1437"/>
                </a:cubicBezTo>
                <a:cubicBezTo>
                  <a:pt x="20244" y="1456"/>
                  <a:pt x="20044" y="1227"/>
                  <a:pt x="20086" y="860"/>
                </a:cubicBezTo>
                <a:cubicBezTo>
                  <a:pt x="20096" y="778"/>
                  <a:pt x="20075" y="672"/>
                  <a:pt x="20023" y="612"/>
                </a:cubicBezTo>
                <a:cubicBezTo>
                  <a:pt x="19903" y="469"/>
                  <a:pt x="19492" y="117"/>
                  <a:pt x="19340" y="6"/>
                </a:cubicBezTo>
                <a:close/>
              </a:path>
            </a:pathLst>
          </a:custGeom>
          <a:solidFill>
            <a:srgbClr val="37D100"/>
          </a:solidFill>
          <a:ln w="12700">
            <a:miter lim="400000"/>
          </a:ln>
        </p:spPr>
        <p:txBody>
          <a:bodyPr lIns="0" tIns="0" rIns="0" bIns="0" anchor="ctr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916874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9539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01753"/>
            <a:ext cx="10515600" cy="1388936"/>
          </a:xfrm>
        </p:spPr>
        <p:txBody>
          <a:bodyPr/>
          <a:lstStyle/>
          <a:p>
            <a:pPr algn="ctr"/>
            <a:r>
              <a:rPr lang="ru-RU" dirty="0" smtClean="0"/>
              <a:t>Актуальность продукта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9007" y="1372184"/>
            <a:ext cx="6833985" cy="5074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691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0247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/>
              <a:t>Сроки работы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/>
              <a:t>31.10.19 – найти и систематизировать необходимые даты и события</a:t>
            </a:r>
          </a:p>
          <a:p>
            <a:r>
              <a:rPr lang="ru-RU" dirty="0" smtClean="0"/>
              <a:t>14.11.19 – создать и протестировать альфа-версию приложения</a:t>
            </a:r>
          </a:p>
          <a:p>
            <a:r>
              <a:rPr lang="ru-RU" dirty="0" smtClean="0"/>
              <a:t>31.12.19 – разработать дизайн приложения</a:t>
            </a:r>
          </a:p>
          <a:p>
            <a:r>
              <a:rPr lang="ru-RU" dirty="0" smtClean="0"/>
              <a:t>14.01.20 – протестировать финальную версию</a:t>
            </a:r>
          </a:p>
          <a:p>
            <a:r>
              <a:rPr lang="ru-RU" dirty="0" smtClean="0"/>
              <a:t>31.01.20 – подготовить приложение к публикации в </a:t>
            </a:r>
            <a:r>
              <a:rPr lang="en-US" dirty="0" smtClean="0"/>
              <a:t>Google Play</a:t>
            </a:r>
          </a:p>
          <a:p>
            <a:r>
              <a:rPr lang="de-DE" dirty="0" smtClean="0"/>
              <a:t>29</a:t>
            </a:r>
            <a:r>
              <a:rPr lang="ru-RU" dirty="0" smtClean="0"/>
              <a:t>.02.20 – опубликовать приложение в </a:t>
            </a:r>
            <a:r>
              <a:rPr lang="en-US" dirty="0" smtClean="0"/>
              <a:t>Google Play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729522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472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/>
              <a:t>Обучение разработке на </a:t>
            </a:r>
            <a:r>
              <a:rPr lang="en-US" dirty="0" smtClean="0"/>
              <a:t>Unity</a:t>
            </a:r>
            <a:endParaRPr lang="ru-RU" dirty="0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381412" y="1481393"/>
            <a:ext cx="6961304" cy="3538663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49240" y="3094078"/>
            <a:ext cx="6004560" cy="3214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7488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1549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/>
              <a:t>Текущее состояние проекта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96" y="1389888"/>
            <a:ext cx="2622804" cy="524560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3800" y="1389888"/>
            <a:ext cx="2624400" cy="524880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9400" y="1389888"/>
            <a:ext cx="2624400" cy="524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2041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9962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2615183"/>
            <a:ext cx="10515600" cy="3561779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6600" dirty="0" smtClean="0"/>
              <a:t>Спасибо за внимание!</a:t>
            </a:r>
            <a:endParaRPr lang="ru-RU" sz="6600" dirty="0"/>
          </a:p>
        </p:txBody>
      </p:sp>
    </p:spTree>
    <p:extLst>
      <p:ext uri="{BB962C8B-B14F-4D97-AF65-F5344CB8AC3E}">
        <p14:creationId xmlns:p14="http://schemas.microsoft.com/office/powerpoint/2010/main" val="3228299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8saiTjpgO_c2sQ.alWT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Po4OtvkFv27hTsfRQ9C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RnQrqCnGb9Vv5aOavFa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rwxJb8KDZvNVKoL0_L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7SMRAaM1Agi59aTuHf_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e29EwjMJkwuTUmxQXq0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3</TotalTime>
  <Words>194</Words>
  <Application>Microsoft Office PowerPoint</Application>
  <PresentationFormat>Широкоэкранный</PresentationFormat>
  <Paragraphs>28</Paragraphs>
  <Slides>7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2" baseType="lpstr">
      <vt:lpstr>Arial</vt:lpstr>
      <vt:lpstr>Calibri</vt:lpstr>
      <vt:lpstr>Calibri Light</vt:lpstr>
      <vt:lpstr>Тема Office</vt:lpstr>
      <vt:lpstr>Слайд think-cell</vt:lpstr>
      <vt:lpstr>Федеральное государственное образовательное бюджетное учреждение высшего образования «Финансовый университет при Правительстве Российской Федерации» Лицей Финуниверситета  Презентация проектной работы  Приложение «HistoryZen: повторяем даты к ЕГЭ по истории России» в формате Memory Game под ОС Android</vt:lpstr>
      <vt:lpstr>Презентация PowerPoint</vt:lpstr>
      <vt:lpstr>Актуальность продукта</vt:lpstr>
      <vt:lpstr>Сроки работы</vt:lpstr>
      <vt:lpstr>Обучение разработке на Unity</vt:lpstr>
      <vt:lpstr>Текущее состояние проекта</vt:lpstr>
      <vt:lpstr>Презентация PowerPoint</vt:lpstr>
    </vt:vector>
  </TitlesOfParts>
  <Company>Knauf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азработка приложения «HistoryZen: повторяем даты к ЕГЭ по истории России» в формате Memory Game под ОС Android</dc:title>
  <dc:creator>Liashenko, Iuliia</dc:creator>
  <cp:lastModifiedBy>Liashenko, Iuliia</cp:lastModifiedBy>
  <cp:revision>10</cp:revision>
  <dcterms:created xsi:type="dcterms:W3CDTF">2020-02-24T16:47:52Z</dcterms:created>
  <dcterms:modified xsi:type="dcterms:W3CDTF">2020-02-24T18:51:41Z</dcterms:modified>
</cp:coreProperties>
</file>